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 varScale="1">
        <p:scale>
          <a:sx n="72" d="100"/>
          <a:sy n="72" d="100"/>
        </p:scale>
        <p:origin x="420" y="52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484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A1132E4-F119-A661-7FE8-49A312058F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CF4CA52-1A64-7612-F251-C9135B97F7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2B010DF-3D54-728B-09CC-CEA2F9B671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2A26B33-92F0-26BA-E4A5-1D3D71C0209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FE212FE-0D6A-ED43-2F2F-72BA35CA73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A53C96A-1288-DF7E-348C-74D8DFC5C8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2E9AD51-6BB0-B5F7-3BB0-B46E8EB103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AE05DD6-9696-67EB-A777-2C389BD9DB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D31EE85-05EC-70E5-E4EF-242F899692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6312254"/>
            <a:ext cx="1973246" cy="21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5B16789-2CD7-8009-2BF6-50FDEE3E665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6312254"/>
            <a:ext cx="1973246" cy="21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4152280-00FD-3C06-C5D9-D96333CF9F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6312254"/>
            <a:ext cx="1973246" cy="21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DE6C416-76C5-4B9D-D4C6-EC1A916839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6312254"/>
            <a:ext cx="1973246" cy="21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91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4938DFB-054F-3995-CEDC-C29280429F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40252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03856CF-B76C-E4D5-9E58-965B118DAF9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0EDB937-64CB-AFD7-15E5-814A75F5B6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21DD644-0F6C-4D81-4C56-D8E08C0944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3C559D9-9BE4-CE85-A073-A1DAB725307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88A8F61-DF7D-160A-2593-8E79A4E7F9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031AF6-7B3A-A92E-2FFB-DB67AF8092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576549"/>
            <a:ext cx="3258882" cy="355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37789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A0B83B6-908E-DF19-0C9A-E24A9D19827A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62" y="6312254"/>
            <a:ext cx="1973246" cy="215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220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7444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01286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7B27EBC-5EBF-2709-8003-DF23DE3F4D9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800BF11-9B4B-C0DB-6446-9D902162EA69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C5214AD8-AC41-1F67-056E-CD92AD9B9F67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CA68A9F7-C727-1C6A-B166-60354C2DB44B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8F1FF8EC-B4B4-E384-C1C4-3C0C76B1B793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62D5970B-B2F9-DF6E-1064-EEC9A4ED3E86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72CB81E9-B59F-69E1-17C3-FDAC373EAEA4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DD1A6BB4-897B-2C53-0AED-94657389EC9C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59F05C62-D8BD-3AC7-91FF-D5DA74BC1B99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C4296560-3B3A-55C8-C0A9-0C144A0BA71F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17D7A54F-4DD1-FEDE-0D83-02F6EC66FD3B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85E8048A-5FFA-BF8E-0F79-E5557D9EF5CB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EFF84457-4335-6597-7797-9B28DEC88D28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86B66010-DE02-22EC-E407-3AB909A2994E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3C4AB173-EE8D-ACC6-3C13-27FA2B70A0CA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4864505D-3752-7BB4-8358-DBF28BF5DE72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A5E8E446-C630-AE57-750F-C00BDB3F3E28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64956EF7-3A6B-C0D5-6417-8310B60C18CE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B3213C1F-91D0-AF20-4FAD-5B9F4A3BE88F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6B68E578-C7A7-4ABC-D5C0-FDF499118DB5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7F50E6FB-D11B-0402-04E9-43F58B345512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B0297680-B49A-72C4-2A0B-CB9409B2F36A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549AEA4C-EFBE-C430-BF67-763BF737BE9C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8A74F061-D8E7-9076-3822-F4572623AABD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3750A0D5-B241-B8C3-0027-ADBECA7A1BCD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150A082D-64EB-700C-84D9-A6AB1F9EB336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6B17101F-AA34-4E49-93CA-248210131BA6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173F7C9D-2FFC-FE52-5385-64E73BA08B65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184177CA-F9EF-90B2-B6FF-F4D54A92AD09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C9F5A59B-A346-B3B9-6B48-1EF4F8898242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BAB600EA-7680-41AA-2117-E402DC89337A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007CDBE8-00AA-65CE-FA43-23DDF3017B27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A25B8505-4AF1-3B2D-471C-F81F05F8DAB5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0ABA5F37-D97C-D8FB-CAF2-9E660E8632B8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9CEB44E4-8FB2-0D42-D74D-CCD82D9A9A08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512E453E-D92E-F223-3280-C2C853DD6B6A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09A26B51-DB1F-E271-0EEF-5A89157022E8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3F17EF88-BF7F-16F2-3A18-67085D8202C7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3EE0BFE9-2EAE-15D0-7144-733438909DD5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3739729B-0E7F-8435-35FB-E86D6BCB8F64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261A2C41-21D9-64D4-5B3A-725ED3974492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46FFB3AC-7DB8-E046-0164-86D2980A7517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3391C499-E30A-E517-9E36-91E1F31B3C29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A149CE35-37E7-A66A-5F36-62B5026C0FC2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1BCA43F7-6B7B-55A6-3AC4-48BECF0CB689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70034176-1606-1665-19A2-11B42EB7C3AB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35C6154A-254D-C791-6C44-9BEA45B131BE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EADFD9BA-19C7-EAA6-F2F5-1722A1FD20E0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65965E2F-0292-4686-ECE4-99E1F0EAA843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9C43F9E7-4C69-D618-67D7-46E06F6F826A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2DC50CE7-1DEE-23EA-D67D-DAD913ED73EC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1372FB8D-8474-6496-8EF1-3EC8A662A509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CC78A14B-2E0C-58D3-D721-191FD1AD9B59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3787D987-203D-20A4-9AEB-DF0F5D9EE148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5DA8BF89-24FA-B7D0-27E4-ED2EB2558625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C44C9E63-E2C9-85DF-3C52-7B36455F4D44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DB1B0F49-B1AA-88EB-C205-ECF4B61959F5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6C032AC8-8A88-1ACD-3DF0-B448513002C2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85C07FA0-5645-5ED0-4FFF-15E2A4ACB4BC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F9188D95-16DE-1469-05FC-8F560169A4D6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362A29D2-143D-FAA0-B010-9A865B5387E3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A4CB0C60-EF5C-97BD-7646-50CF1005D5AE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EE031B08-FFA1-54B3-10AD-9E6A5D80996C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493C65D4-01BF-FF01-006A-BC46B6AAB80A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F648EF39-D025-86F9-B7C6-D1DFA6149DE7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5FA6D747-9410-3E3E-D735-E85513CEE66F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4A550066-D311-4F88-0225-B99DF8389E63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FD27D260-4E65-E94D-A695-727CF871FD03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86931559-9BFD-8ADE-F95E-C3CCCE63BE65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7FACED34-265F-F7A4-9092-7703F366D33A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2C437F02-C33F-A680-06C3-AB6C4C5926BC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82754EE5-93C5-C3F7-9514-9C4EE1D0C54C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A9C30E1D-2849-77E0-393E-2C920AD1B7D2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9CCA74D7-F13B-7839-2ACB-B644BBEA77BB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16DB8712-D0A5-5FDA-2E49-1499FB4A7D37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F13CCE70-A2C9-971B-D15A-E096563ED0A4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F4AB17DA-B76D-14EB-83E6-967FE2D5A8AA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F4B3A239-8EDD-5161-FEA8-2F28E7D3A9E1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C32DD5B9-3793-7753-9673-1D13DE293BCB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B76C6539-C97B-AB16-48B8-8F7C01A6F7D4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134844E1-9AA1-19BE-1496-E1B42C35246D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ADED003D-B131-174F-C8D8-548F88159D6D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DA127376-AEB5-14EE-F573-8A86EE57EF78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622CE9EF-0494-392C-975E-6910ABE63E4F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22E1EAF9-E3DA-C131-F317-338A5960B621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82C3AA92-8A07-9A93-A430-B593213855DD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544AD3ED-8E9F-8AA2-512D-2C24FDA99743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AE8A0219-17CD-96B8-08F8-274C39395F2F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315F100D-B4B4-AF9C-52FA-CB6A705BFE31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5080DDB4-C06E-B572-2E27-318DAD3940FC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FE50DEAC-FDAC-7880-2466-A7B8795946CC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86A82CBF-0089-B48F-CEC6-462E7FD7EA89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281B5B41-75D8-4111-0C1E-E3C29F891ED6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0BC801E0-85D5-A408-62A1-8681C5B01FCA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06ED9EF5-34A0-9397-EDE7-9CCB868F9DB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792D0F94-BCFD-9CFE-C875-F9EEB4BF9D1F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AE775D96-1E53-BB57-6AFD-4366CDD517B6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7B527CEB-68C4-B3EF-1021-A1E98CBFDA28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DE61D6A9-FE03-6DE9-BC8A-8A3833868FEC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182F31ED-F4B0-5436-C823-16519A4F87C0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F9EEEB7C-8BB4-7251-9ADB-F80EDB0289AA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1E2E135B-98EC-9912-073D-C91207119E5D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620E88BF-C842-EB08-B150-8EABE432CFBA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6F5E290E-6F6D-349E-11A6-D3386871F0D9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95BCD38B-7648-E8F8-C47E-A5A2D904FE21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58802D13-64CD-FC28-0357-51EFDACAD810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A357A131-E77B-C179-73BA-59C51B9C0A4C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7BC7E8D7-388F-7B06-6FD0-C5DE8CA2E9F3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E0D45C56-B026-069A-4C5B-631752636FA9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70358F16-1EB5-7908-E25F-54E609C8B7F7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4B5716D0-1870-4E45-FB94-4195F4FE33CD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93787348-B4C0-ECBC-40E0-3E054446FFE2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9F311D65-DECA-8EB5-B0F7-13353B8D2EA6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43973540-A70E-F006-274C-A79C02AEBFBF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11CF92F9-C387-5A1B-5B4A-4A12D372A4E3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1E1DC69E-8D62-384C-F0E1-4115B870055A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D9CE9964-AD90-10D5-CB76-B91A6EB30C03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CFAC7FA2-15B7-2BAE-B951-D38B4769E9B5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649A25A9-A05D-A842-9CD3-A374F9A3FF55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486E4363-3FFE-B4F0-00F0-215FAF5DD4A9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EB4D650F-E247-BF31-A577-AA8F63B012E0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79C921A5-8A65-44B2-2D3C-A07A7DDB51C9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69D14907-5B41-4322-6F02-094F3C7D9423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29C02401-CFAF-056E-0F8E-33441BAE2360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9FD18418-1CDC-C1C8-2DA5-E687A45FB5C7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AA04E86B-C700-302B-55A4-BBB8C41A6870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C1BCB9E6-7247-6A09-3A70-339DD42CB27B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E0D30152-E264-33EB-58A1-2FD713226AA0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7217019C-7FA5-B117-587C-E8513954FF3B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9FCCA935-6299-06BF-7673-FBC4B3C58517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AE2A4D83-27A3-8805-DBE1-F156EE6E3D36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855B2298-622E-8D21-1962-7611CD161684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5BBCFDE4-48B4-E0FA-3816-4A4DBCF075CB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BBB64408-75F5-F1E0-7B3D-812D5314CDC9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25795DC7-B931-3BA5-570D-CF8B9F6F0FD1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6CCEFDE5-BA24-BAD0-AEA0-40C3EF04C297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55F4954B-5B21-4EB2-55E2-32049D716CA5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A1A3D6D4-E7EB-E962-3420-263FDB70B8AC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EC1D2AD5-ACEA-B302-62BD-67BEC6FAACFD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8CD920DF-A25A-EE7E-D420-05D95ADBF7EE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32ABD150-CBD4-5B75-9D95-5D67F09BABB4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756BAB00-2B53-BF26-EB16-C63B939FAD46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D8C07DF7-4A23-35EC-359D-F43370529132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C23C838E-D28A-1B0F-38C0-1073A04342BA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7D1E2046-1163-E0D2-89EE-2B72B5DCCCED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071B37CF-97DB-7018-A8A9-A34267F467AB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DDED4088-6F13-1223-CF67-7187AEF4C228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23062D49-D313-5479-5C37-A9CD65CAFA1E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ADEBDA9F-1E1A-BCB7-3648-FEF16716CB7E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C934D702-B244-E1E8-3F8C-8C7B2933699A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A1E212A8-74B4-E24A-84AB-4EEED67A00DE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E534B89F-99DC-AB48-4958-2F428A1ACBB9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F2DD4A6C-1006-A9E1-9DAB-6C7273DB037B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7903BAB6-6084-A69E-913A-2D68247D14A2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517B4614-8292-0459-BC79-1B8B686E289D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494CB10D-D3AE-011D-DD8B-1B95B6D204ED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D6575F42-AC63-720F-3A50-E1145386C601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C348C4FB-BFE5-6F87-83EB-A3F0BE9E454B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4AD91877-400C-CF0A-1D50-84986C640510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3CE8BC4C-AC8D-7FA9-91AF-A80B70405985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38DC0E35-76A1-FA85-45E7-BE55456A9B2C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54B532CA-0E90-D32A-87EE-F22A7206B0B6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B2A3C923-05FD-E7F4-85D8-B38209BB9464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57A3DE9C-223E-ED38-530E-B74A3F4685FB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231104FC-DBE5-C1CB-7BD4-551196B7F9F0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E50EF18F-B19F-A9CC-FB62-B3AD0C5BB40E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AB56A176-0A15-7937-FD2A-5E606972391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C803C339-7C40-CDBA-9045-46E1ACE8C178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C243D0BC-A9BC-EC4E-B48F-69738D41E8FF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C55A97C7-4D8A-1F07-DE45-9606B25E6DEB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033F10C0-9277-FD5E-394C-6C079181FACE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4DCBA24E-132E-01DA-4D09-4234934517B3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F8B479EC-E382-8F42-09A5-DE3147F4F265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36007376-402F-C53B-AF4D-492CBE9DD414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82CFE610-2B86-03B0-6653-CE1506F3D153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7A3448F8-DCA8-4962-62A3-9E62E6745C68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79F579B4-CF29-3868-CA26-3D288F8D5031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BCFD7B26-2CA4-E5D5-8C01-3F7C9B1E1804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7D30F5D3-3A16-0FF3-CB4F-095F2CF285B4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A0C6FE1B-7B53-DD1C-54C9-D06B08DBDAA5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5B1DAE9A-3DB7-2BC1-7B9D-06C6FD446C27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763D544A-703C-EA79-F5F3-E709A953CB67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E78FD61A-5586-650B-F9A5-4C5EFEEA9F38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829757AA-77E2-5497-8A7D-EA5DA51FE553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96D60289-FF5D-F17B-ECED-E02F497FA160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0866C994-B69C-CC0E-86F5-B095CFC88467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A8CC7247-65FA-F166-EBCF-A0BC3328C76B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5CA88B23-6200-B7F9-1BB4-8B854A0AABF5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FA63D860-DD13-DCC1-A02D-FA0EE7CBC1E9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F21475DC-5C91-665B-0FD1-9C86C0DFB015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9100A430-51AE-0C3D-D92A-80ACCC1DA17D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9AB9A482-4CD1-A959-8C89-AF2F6B234226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7BAFC3EC-43AA-9883-4AD1-876A60EC4DCE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712F2689-2486-49B3-81CB-6FFC6976C3C9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D5EA946E-DB9C-249D-DF23-74B26B294749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716CB1BC-7007-342A-C6C5-B93D2D6AB5C4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36F6FA80-34C3-6706-D422-007B184B002F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767980AE-BCFD-E62D-CCB1-A96237241AE4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140A771A-D1A7-D474-EECF-27C941FDC16B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A268B840-C419-2C03-AEAF-5F8D33B0084C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3D7399E2-6C04-02C2-505B-5F534BC3947E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EF3533C9-3FC8-3138-8573-53558732D3CB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37522639-26B4-A802-08FD-B7C6419AC9F7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E3FC037A-E49E-6614-A7DE-E876CD5A095A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46C8F499-10B5-521C-F0AA-AC84607B10AA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A6E01381-FE5E-ED4B-C5DA-4FD8DE9790E3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EE155962-2B52-C6B6-85B0-DF186DC9F899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D79FDCF7-0BF1-FACD-43CB-69D43CBF98C7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CF3BAA9C-52B2-A182-957F-7C01CA51AAAC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B480C10F-3094-184B-9F34-B80C6BA73764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4E83B74D-5A1C-9582-9FD6-E2AFEA46FCE5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89FC9C5C-60B7-96A4-EC9D-FAEB34DC3273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95BADE8D-ADEE-F9DB-01A8-764F30CBFE57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D9A8ABBF-6519-884F-1CAB-02FB5AF2E2B7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F4EFE200-99BC-54D5-A65D-4A4618E2C01D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8F53B85B-0825-FA68-393B-BCAE85B06C86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CBB08E5E-7674-5EDE-3AEA-8846139BA36D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0959BE08-DC8F-1CD6-3211-8967D95875C7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16198FB3-6287-E81F-087F-547483B87979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544E0D54-CA1F-1233-72F0-8D25C97869FE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8BB12AF7-975B-28A7-EE9C-5325FBC3A55E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206C1D2A-513F-0E2A-7B4A-48D769E94E21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B5BCC620-F966-74F4-0B61-E896A4FF2550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1EAA8181-7DF0-0D61-979D-EF00AB56DCD9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77FA9852-7DD2-7015-0AEF-75D5BB513CFC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91937BC3-152D-DEEB-B83D-B389965BA2F5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19C1DEDD-EDE3-C63D-D911-CF5347F21126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CC098F57-D4FF-E7F0-CE23-C1DE0E2B06DA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F45AAD91-7905-94C4-15CC-D4E9C36DEEF3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E0CC74E7-7B10-3710-4ED9-323EE5CB0A86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9E3537B6-E4C7-41B6-B7F0-1F5E9C759242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6634948D-F6CD-EA44-F854-6CD5AC3C930F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0D9DFC3A-8812-ACA4-B979-BD6BE24B698E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AC39DD16-2418-880E-7EE5-A5E798C60156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D2FDAB42-D83F-9381-E0B3-E034303CC22A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378BED09-F618-D17B-A2E5-A66E920BD0BB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A179567E-EA0E-9AC2-C1DA-DCE4E24E5083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E83CA55B-2129-8770-08F9-A2E7F6B69EE2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82C316FA-30D3-E984-DBD1-9ABD02AFB6CE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326DC015-F859-890E-5F0B-153A34A06F98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EBC64BDF-3217-514F-B996-DB695D618014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23E7B451-F112-2040-2F22-B24C62793109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6B506AF4-BEE3-B790-F78E-7C8C9C461FAC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3533CA14-0AF4-27A7-DFBC-78429895FB53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86B4862E-A859-C402-723B-0F0C66A77FF2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3D47F74B-F951-933D-8FC9-BAE3B3B54139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A84A2F43-D1B1-6170-A2DC-EC2DEEFD454C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173EF2C5-7925-D6CE-EEBC-D08DCA79E644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90D1C1D2-005F-BC52-F51A-40F68D5246D1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87C7BAF5-94C4-8EF8-B88E-13E0C379C82C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790D3A4B-9ACD-249F-A18F-2274AE6B3883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E0D72E8D-0FA6-6461-8614-51DCD80FDA1B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CA355930-938E-61B6-69F6-AD08CBC75627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C0A03EA9-DDAC-4292-E711-C65F4711BAFB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21CF6F13-DE55-A2BB-252F-5625BE5E6C96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8B1CF4E7-2FF1-480B-2B79-24E20EBD91E6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DE2DD765-2549-AAED-69EC-20A73102CD8D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1AAF71D7-6C67-B6C9-6F30-AD88E8C1894D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BA8B3E30-D13A-CD5D-8316-6FA28097852D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51F0DFCA-5ADC-CCDF-933D-0956BAA1CF7C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C8849901-7D15-E1E8-2945-1524839B97E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64C7EA6B-CB61-8962-A10B-2A87476D8A63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353BFF2C-B695-E434-D03A-1DCCCBC1AD85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C147F326-F06B-4537-5ABF-68F218DC2E9B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F11C8A19-1302-9CE5-139F-E6CDB00CD3C7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3B80323F-6D91-6E11-0C37-4C12E7CBCA27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19B22A53-D370-77C8-ACB1-2BC0C10B973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3640C1F5-60D8-7CF3-A810-8E6057773F96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FAAD2C85-D1F7-317F-A4A8-E3649C6577C5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9880F6A9-9323-72E7-C475-91E3A03F2CF0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CA812B45-7CAC-8F01-67B1-69CD11258A4C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F92E5969-FE56-FDB2-8C2A-16D6CD9EBE7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82F8E4FB-6344-5E01-336F-7BCD28BC33C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0F557884-F431-E2A2-8D2F-FA59A5B9B57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226D5E75-33F4-C0D1-8270-7D3DA931007F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FCA6A685-5A1C-6CD5-32AC-56C0559F2E7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B350FF82-CE7E-5DD7-702E-F6E2B43D11C6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37E52565-6FB1-54F8-F09F-CF8195C2D3ED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367A4421-71B2-0992-A050-02FA2D3BCE00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54713E62-DAB3-6A58-3FEC-BF82B1001731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1CF7A675-7D19-CCB5-1427-5F37FECC31D1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55817B93-067A-75C8-E12A-465B7DD4B65A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F721AE0E-0B10-057E-123C-88FD7AF369B6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D3628BEC-2959-BBD6-5D01-D48217BFB40D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D1A88D3C-165C-34CA-EA1B-8679344DB351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D564B5CC-20C5-BEA9-EF50-39599868D006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FF188D54-B616-384A-5915-BB6A9CB29C70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E0D3319E-BEC4-7971-A83E-9F2CBB1737EC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94610285-DEB2-315F-7762-C51C20C5702E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AEDDC387-9EC9-813C-47FB-CF8BE543CA50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04BAD1FF-8636-1E66-76AE-AEC265E9333F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45BA5451-A247-221C-5EBF-D72FD546DE7E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2285D996-D6CB-691A-33B2-342BEA7A5646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3B6EFFF8-816C-0860-B293-D75014D34D8A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075B6D70-F7B2-FA2F-2AFD-4E3E40DC5C09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4ED5EF68-F1D2-C311-51C8-650F1AF2795D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3A813B78-8266-CC53-D386-09FEB73A1927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CE530870-204F-D584-613C-8FAAEA48437B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CD3A0327-B237-BDB4-BC58-F95B64AD351C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AC890B42-E5FF-C878-2B2F-930BAA11D0F3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54574AB2-2DAC-7EE2-1B9F-5E8961AF0DCC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DF01DC30-793F-40D1-932A-E63062CE7F38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6CE63C6C-F31E-B81C-D43C-1FB755541E64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D9CFB221-76E0-15E5-D8AB-35DFB8A97A3F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1D11E60B-0EEA-AE28-86E7-B6C1C2DCBDE5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BB21069D-19AA-77FC-F1C0-4A2A685E5AFB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2F61F26B-6EA1-DE90-A92B-CE28CDFCD46F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F0AFDFCA-C58D-D5F9-783B-CC49ECBD3BC6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C6A373A6-3A5C-C740-9282-5F58D8635FED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5193BA86-2EE1-9C74-3ED3-26FEFB33B090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9AF6CD18-6ECB-380D-094C-97C3D8DDAC14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66B8EF89-08D9-E3D2-D84F-99260B767C56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870383BB-87D3-FB87-0461-66FFBE4BD976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0FAECE41-3B4C-E05F-9C13-28358A17AE72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62184182-5EBD-BEB4-92A5-2C53B2D6AC6C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7684F7E1-E6DA-77E5-A164-F6F5B74CAF2B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22BF33DA-C00B-9D92-A44A-A791B8052EB8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34BAC91C-4484-4103-AAB7-B9B8D9C2C3C6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65F781FD-7752-92A3-70AA-2C7BEA939A2F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3C863C8C-62E7-3121-E8DC-71D005747802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E8623204-3DA3-24E6-181B-B8342D50EFDF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D2570E64-C1CE-FF74-B406-FE57F98E9F54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12D02E7D-6C12-7809-9C52-32F63B39C553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BA22D6DF-E80D-530A-0201-9C40EA3D6848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23EDE227-5C74-6DCB-414A-2D783FC9CD12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A54806F0-93B0-996D-DF8E-01618B797059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571AFC94-B735-5091-737F-7584156B1AFA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E5B5230C-246C-DCD9-D37D-ADCDBA49FAD2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EFA87A03-3F89-BD05-185C-D2ABB83AC931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56B0658E-C0E4-397A-0984-60BF50057DCD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7C7AEFB3-4553-DD69-8256-2AEFCA398971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2F825DD7-98F3-1505-08D4-73C4E121E6D4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216299D5-8E64-B908-5437-97B4515A9C64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4427D91D-2F16-F623-42F2-7EC052D8A74D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743E7FE2-24EA-176F-8592-9697E22E6102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EE1697D3-AF03-3562-E436-D27C84C81D1B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FAA892F1-8AB9-7A2B-4087-57F277321C6F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CAE840E2-F2FB-A8D9-2563-2D5BDCB9F976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D0BD491F-CACB-2A13-4151-CD3E7F73D4E7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19B5C1AB-F792-CF37-EA79-00B4DFED7AAA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8C055E49-BE79-5E33-8E90-D85F8C6085FC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44A11E8E-7B02-AC80-DCDA-D827E0FFA74B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3D42CC39-DC8F-428F-53FC-87DDDD6D3525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060EEDE7-6E1A-1112-409E-46120C0437A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931D803D-7F38-584D-F1F3-7CE77B97EC39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9E33FCB7-318F-860E-DCAA-F54615659CF0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4B1B21B6-4DC4-0E0A-D6C2-E3D6379F51E9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2E4FCB20-0946-40D2-0167-AE41EF9EFE8B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249A5473-67CA-2800-29E9-AE0FCF73D81A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11810377-4A2B-DEE9-3605-7B800CC6992E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CE72C243-2B86-56D1-DC4C-49026BA51271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E0733FC5-0D44-4418-6BA4-C99EF1D6728C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42059CA6-6A4B-2FAC-776E-A5B49EFA4F9A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809E2D9D-7EAA-3BE5-956C-129EC842D2A7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F232BE81-5977-E4CA-3692-9340FE5F3188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C80D11E6-0F4C-F9C3-993F-0578BBA27132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030C8FA8-997D-FC51-B4AE-911BE274C91B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39B4C166-8D8C-E6EF-4B5F-DF1D5398946E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65207D00-F51D-7DA3-087D-B034A7FB480C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4D90B082-CC79-9A36-30AF-FA902D3B97B1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BAD0248C-C297-35E4-2019-1AC248B0A3E0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52729C74-0FBF-4E15-47AC-640121748B44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A4E7D9F2-9827-1C22-9433-6B5AD5A2C46A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85D81020-7074-2AED-B063-C8CEAA596470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FC054256-37CD-8798-D5B5-6E9ECCF3F65C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F9C8519D-EC75-1017-2DEF-2C654754562A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05D66EC8-DCED-8AB3-C07B-73ABF864D91E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E4E56F03-60D0-FA52-13B2-EE250B484727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8487EE87-B7C4-3C26-B1B0-CC32235CD4D3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136F190C-9DCA-81D0-AD57-212214A460C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44C118ED-8DDC-A8B4-1C1B-CDF75A8CDF5E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95E5B947-4331-18F0-22FC-A204CB7C6BED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9693DF3E-95CC-28E4-C777-44882D7BC01E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5706685F-2FC9-1F00-CA36-6C58D527EC2C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8947BA02-55E1-CF85-4467-FC86358D29A7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721A51DD-DC2C-4CFA-672B-2AD9398BADB2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AAC2C5DF-67E7-1095-06F3-008A9D126591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792299D0-53EF-7847-2A4F-2A7AB453B1F0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F582C0BB-460C-6FC0-CE34-9A9FA9D9F77B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06EA2CEF-36BE-1468-8AB3-05BF8D08A83D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69E13D8B-0734-B967-A8B7-4CF23C99693E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F3121545-85FF-D858-02D2-6C4EB4ED75BC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C1FC5827-08EB-0F7E-74EE-CF6927266DB1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2BE165D3-DD46-96EE-A60E-F18A33882801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00E30FB5-CC64-111B-1B83-9363FDDFC99C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6EA29254-482A-5A8C-FC29-3387617439AB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29D46937-73B4-1DF1-C56F-4B3402418532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DB9E0A15-8449-C3A6-F717-0B7962A93F5B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740F6961-D4B5-F134-F289-BCB718345CDB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3B882D0D-8ADB-EE07-0416-5BE1E4725CFC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1D2AA186-65E6-86D9-AC73-C30286805143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A1F53DF0-7833-2B45-5422-DB27499E9AD6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513C8591-D445-FE51-8E29-F16E1399B30F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8BD23D23-D90B-8E01-DF73-40D8E908B5F6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3F53010C-8659-EF52-0941-71DB957D5339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27D3EDCC-900B-DD90-80B8-83FF9EA8CFDA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D310F295-CDF9-B8C5-E769-61CD775F7AC3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C917BD55-4682-E6C0-0ED8-2DA9A0798BE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B4A3CDF2-9872-56F2-CC0B-510244F0FA65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20EE20DB-FB71-671D-E746-0465A3B38D08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35D9D161-83B7-5C82-2BED-E0FE961987A3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E413140D-742A-A533-8F40-8778929F1E72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6E45B107-D84C-6485-5AF2-F98D1CDB613E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29965D14-BA95-AF11-CCCF-DB7F398864AB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399B5EAC-2B4E-66B6-0707-A91B6C85C32C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7970C4A8-AF60-58C8-4FC4-31C919499414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A7C9DA0B-8A05-5893-8812-D3466AE1D3DD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E6CEC16A-2EDB-3634-C0A9-7749CFF4FDD3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4B260A52-4FF3-B726-7B24-9BC14BA5EEB8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13936FA8-A614-DDB1-221C-7ABEDB05F8A1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E843B51D-7949-C7B7-18F1-7B5587966B70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EDAD0D12-1645-A077-3983-32FE61B89367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33864A9F-A957-85EB-5A06-81EB61FCAF77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E76DC104-06C6-147C-E214-4A6175F46362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5D546AFD-2061-5197-56EB-3A59A40437B5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36C1CAFD-55CA-1A66-872B-B6B1FED03A45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23F58931-9CEE-C8D3-E1BC-7AA65DDB72E8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2A815ED3-035E-1B1F-DFFB-14CE2363DC8A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1E610563-7B83-923C-95EF-C82FE0103B88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314F32D7-5B85-0EC4-1C3C-1685C2B31E4B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C2122139-DF66-3048-A1A9-E29DCBDD964E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87B91813-A2A8-54AE-C6E4-0A7B81BAFBA8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4816A336-36AF-C5D6-3842-8840E6125E98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8D134A0C-0B03-60D4-6DCF-77B13E3472FD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D7A81555-455C-47B4-BB93-AE7CF64B7E9C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9DB7DBC5-C137-04BE-0933-2B7133F5E905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223A4046-1099-CFDD-D04B-3C1E89A6C4EF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B9131772-BA06-80FC-6F07-500C2ECD6AE3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781FC2E7-C624-31C0-4F22-81C78991041C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A7EB1C42-4079-07FE-BEFC-6EE98FA5B747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48EF14A6-0FB5-DA7D-6622-7CBB7088DC2A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671E18C0-4241-91EC-22AD-7E0303E7551F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5B9C5FC1-9C52-4C72-DE39-53E5206DC629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0DF54142-AC17-2976-1473-AF41E6D4792D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0D4546D9-0259-BC1F-4BC3-519D749E864A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D3D48186-2503-89D5-A7B1-C2C7F554391A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FCEBF668-0B37-9235-B85B-250FDEB6520E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6008B83E-0210-B9B6-DA87-0D1FC64CB18F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9C912CA1-2F30-656D-C8C5-113FF048C4E0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8650121F-6B11-E842-53C0-E61646357433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331F5411-82E0-BC9D-F842-D97DECDFD8C1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1929036F-F3F4-1F76-A1D7-0A885D56EA8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F99D4314-B5CB-F69B-97F1-12961F3AB26D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F4758221-A4E8-422C-4CFE-58A6A77C20FA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80AB2471-BC28-D457-1A8C-01AA69610A72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11139396-F13B-A079-1161-D0C96C2D12A8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00D1C012-5F19-52FF-638A-0272CF2073EE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A582FAA1-96E1-4C58-33F0-4E2508B1A14B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978D60A4-80C7-74D3-8DDF-4C934DC89D93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B26A6FD9-5DFB-E7A8-0070-93BD524F19A4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E425A2EE-1B39-2F06-8E89-43900683A14F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B219BAC3-69FB-CA47-1777-184B3332ECBD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66673F23-B31A-89A5-6DC3-B478C986DABE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A04DC2EA-E1EA-7634-BB2A-D819007B1E9B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2C19F19D-18C4-51BE-4C99-C45F8424B387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B6261924-19AD-8032-00D7-D27FBE7F8124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1FD811F5-8197-8DA9-B841-002420A3979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C5417E9D-B24E-3117-9EFB-8C0CBE749AE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833F0602-896C-5A0D-2585-3E503486530F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E98DEEA9-8BA0-29CA-DC4A-EDB60FE3914F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4193DE02-DF69-AFDC-22D3-D72456129010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9C9DC87B-95BE-6B99-E055-5F1CDAB7467B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EA357B46-1354-A9A7-3213-CBD9477A18EF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83C3C954-94D8-ACA4-8DCE-EC59563ADC59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3F091D07-F9E7-68C6-F4EC-090C981E8512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6C242DB2-A701-B746-9269-C93C838E969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F81213E6-24FE-8198-2E5B-DB4F4F925CD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930ACB61-7D14-4A82-2261-B22CDCD3930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B4CB74EB-AC58-937F-FE4A-ADC4DE118018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8CB2997A-4980-65BB-1846-639E4948B473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AD111C02-5E32-D31C-E1ED-5667EA7F93E5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5D84B234-FD0A-DCAB-0860-2A07064FA86E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74BED80E-8160-D891-B7E4-CC489166C802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3AC5C6BC-8724-6482-CBFB-546087FAB704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E315D347-BFC7-E654-416F-ED62B1D0E540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D635A546-1DEE-E446-7F54-C92B6E43E61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82C968ED-38A7-A3BE-3AB7-F1C015A86456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7C4402DB-BFBC-A274-23BE-C4EA1EC4837E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E6739669-FE9D-1592-83EB-C17E8D4B5624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89D0147D-A5DE-F34F-C878-C77377AB3B62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6CD80052-1EFF-0FED-07F8-EEF68BAB6331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CA0BA6A2-BCC5-9850-4C51-80FF321FA60F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5604E9F8-F126-23A0-8062-457C945DC2C0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DC04147A-4619-F4C1-FDB3-6B4269711208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B366C154-4F0E-930A-0F39-58A4DC9396AF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7FDCEF8C-577E-C79D-E39D-B1C25199033D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70ECF1F4-D8D3-1FA8-6FBE-D73E92654E81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19160014-69A4-8677-E929-76E4EA708DC1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45AD9B94-5684-2A30-B9AA-8AA55D73FD6A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8E36FA78-197F-A487-BA3E-E6486F8244D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610D5109-3215-679E-5842-1DD46D6B513C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2B6E1A9C-CF25-BBDA-9F65-2E3E0608642E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CF8B767D-F0A4-736E-959A-128012669BFF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17B67F21-6913-6882-F056-A5C72915E1B8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07252E59-0044-66D8-5478-6B14E2527D17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022B9B40-89BD-C490-CF4E-57B1E2E962C9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66753E8F-1B7D-8D13-E088-97860B878EE6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00A9BD3C-01D0-BAAC-BFF0-69F07B8F476E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52AE531C-AA58-3998-1B28-0C7F1DE6AAA6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781E8FCA-ABEA-F72B-1E55-2061ADFD71A8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92CE3EEF-0E9E-421C-F249-D8DB225920D3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1F6CDE11-BD3C-0C48-E2A3-0A5D41B38CA6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E6A1C6A1-9FC5-7A5B-0072-711D166B1326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12EC379B-C4C7-770E-C6AD-8477FBDC1E10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71EE61EA-9C71-694F-3944-590E701B5E99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346E6323-B12F-829C-F4BE-B63D9CAF6BA5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5C878417-0437-D79E-43C1-DEA3DB35743F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89293389-7502-AC98-4284-CC59E1F7C69C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30891AD2-8FD2-8B04-F216-65E269D84A01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6427DD0F-DBD1-0A9E-2A12-C9AC41906BAB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FC51953-3FDD-2B72-A09F-99A15CC49414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4D9627D6-C974-C98F-1DE3-B93E9C1133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755DE265-B875-94C6-4ECA-38664BC5AC6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79150A8C-9E93-3B85-F9F8-99422144ABCD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1AAB5759-491E-24FC-99AB-5A8E118AE02F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F1ADF9D9-F2EB-56D0-D9C0-FC6ACA4A641D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CCE5FC3F-9CFA-0156-ECA8-3177062F7623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3082B0E3-FE27-4C8D-92E2-2C40305D160B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CD97EF6A-C9F9-64BB-CC5E-B265AB5B3151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3292BD72-AE45-431F-322F-B091812CEB41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9EE3DBAF-D9B6-3B32-E532-204CB53B2F0A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8F78A374-6A8D-39B4-FD1D-F722836BE5F4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04F3965D-A295-584C-C36D-3B79ADDD02FB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ED0A2395-B990-DD79-8275-DB2A61665321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3AA87A75-8383-FE4E-EE4D-36935213AC2C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56481524-9A22-5758-0598-FB6D3D7FE004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324D4613-1C8C-B587-717B-62E1B431F28B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9B959CE4-242F-C148-99DC-4DAA1EE8554F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16AA1BB6-543E-62EE-FA2D-E29AED139BDD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816D6D00-809E-6458-5573-E152C61C019C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7CE53D46-FA26-B622-BD04-2324C9B8ECF9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8C3EA0C7-508F-4DF7-F5A5-6CBDA9402CAD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ED41E93F-40ED-D7BA-994D-542510F02AAD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A180D9BC-C809-3B59-C138-F4D77D88C9F9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A390E6D0-B908-249E-D7F1-BC9B22BF0D2E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8D192DBB-E426-C34C-8714-A0EF741F04C6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8C785068-55A5-AA0F-5B89-72E31433092B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B6802F11-1664-2EC1-28B3-1B49D8787A2D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337DE6C7-AC03-5CA4-1F69-757BD9AE0A2C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EE3DBB95-C261-CB27-43F7-4A1FC3829440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140FC3A4-0F9D-03B8-E2E2-31CC29809DE5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4EC8E2C5-1144-50BD-ADBA-980039D8FE63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F8E356CD-3876-D399-2947-6E55175E2D93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91D0D941-B20B-06F2-8BA9-26D68CF434CA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9E1B9AA0-3CFD-7ECF-D165-DB38BE6DD467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0E750BA0-E8ED-6F04-969F-A77C37360368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1A006DF3-0E0C-284E-C9ED-8B076F147459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F120BEB3-F91C-CCDE-45E7-0690F493FC4C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97AAB508-A7F7-EE65-330D-EE720FDE78A4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2208A7FB-CFA0-3DED-B8D2-0487D7679E4D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5EBB699A-8E6B-E474-23E1-91149C6D183D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9E7A00B2-83D3-7DDA-B906-EC462FE2F283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E340AC56-1925-69E5-1B6D-8E9BCAB805A0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B2F4E030-F518-8BD2-296A-7D50C9B8B697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3AC367A6-3895-7F81-B68E-966E458E9FBB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52E2D8B6-EBA0-8347-319C-0FE3543D9436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D48B698F-E2BE-5E23-0017-4614FBC52103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11E00761-7F94-6E25-F7A7-2431E3BB1137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8FBE56A1-3EA3-A00C-1680-01B9EE8BC0D8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B69B7993-D90A-4DC9-F9EA-17F35D56C39F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AD2E3077-259E-9E71-75CE-75EDFA379921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32B33F7C-58C0-D1B7-D312-71D92F12449F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579AB093-E25C-21C0-02FA-9B5828F16910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C231C593-B9B4-D9EC-8F5E-94BC267E2438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94992836-53DF-DE33-36CC-FF96BB2DC081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57F970D2-002F-6A2E-A7E5-30A60E8866A5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1B670098-766E-02AD-1A35-E57E761B00D3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89D6F4D1-21AD-2903-7F08-B1C9A037E1CB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0794EB2A-A7FE-5908-D181-C4AEC024D933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D37C40C5-E18E-646B-95A7-51D2C73056AF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2C67630A-C66F-C098-436E-7E9B9BBBD71D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179DB71D-89B8-7682-8388-AAECACB635CF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53281E88-C9CF-A520-1E56-D413A7649B0B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3E4AB7A2-BB16-3AF3-B56C-2D57C22305CB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662DA8D4-4B32-621E-2797-7A096F6BFDB2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B8B2F37E-D09A-7321-74F7-D1D33F97E4F9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E01FE203-377D-25C3-D2A5-1E4D6DCBB129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64D3124A-C8D2-4EDB-B59E-B9A31FB69E66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EBF5B0ED-A990-BF08-8AA8-886D4A84CE12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A957C9E7-8940-6B05-B070-8B2F1C3793AB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25DF985A-3A11-A29C-66E5-042DE963CCCC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5F2A139-817F-C3CE-06D1-863D17688EBB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5E23CEFE-A410-550B-FA94-7E3FCE8423E2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70AC63AA-08E5-ABD1-CBB5-A6ADC8C2735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419A79D8-1D6C-B038-9676-A0D05F7C8C4A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152D7F8E-4025-C504-7BFF-9EB858F7A6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09C0D1FB-4C72-5E0E-C00C-6F190CFDAF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17E6D80F-7F40-A46F-07DA-E0F0108CBA9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33488782-0158-44B2-FA1E-123EE7B2C21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585EDEC8-DEB1-29B0-E9C4-690FBA3F413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BDB65B78-6F9A-C51D-15F5-AB25EA26CCD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5B0351DB-E6B3-112F-FD1B-06B2A90A82A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B9FAE59A-071C-86E3-011F-BF310897B4F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E1B55F0C-597B-9FB7-4280-4B72E0FAA2E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FE62813D-CA30-9C0B-73CA-B558A431FC3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B5CFDB38-0CC6-751B-B930-F9058D638A0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1F05D3A7-9FAB-22AB-E963-1552DF6D797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14C71A63-ED0F-BEAB-EBEF-F845A63314D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929A980E-9F17-63CC-1378-2854ADA2E7E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C499B18C-1E85-0E6C-39DD-D108DC0A067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FBC3026F-EF07-95FA-9E17-9F6BC64F499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D18601A4-2581-588A-BDF2-03998173638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A951CF4D-1688-8E5F-D588-35CFB671172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872D4539-ADAB-906C-E848-6F6AF3F0779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A246DD8E-375A-77C9-2344-E338D3D8D3C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AEB16D31-310E-E758-E68B-978C3227B7C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2F262B5B-AE6B-D685-87CF-6A227E84BF5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887069A5-F89C-F201-E41E-57B704E5D4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27" id="{B4174FD7-6821-4166-959C-337693663B0E}" vid="{D141C285-7EA8-46C8-AF40-A2D1815CB84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service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6:02Z</dcterms:created>
  <dcterms:modified xsi:type="dcterms:W3CDTF">2024-12-10T08:1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